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4"/>
  </p:notesMasterIdLst>
  <p:sldIdLst>
    <p:sldId id="300" r:id="rId3"/>
    <p:sldId id="289" r:id="rId4"/>
    <p:sldId id="299" r:id="rId5"/>
    <p:sldId id="290" r:id="rId6"/>
    <p:sldId id="291" r:id="rId7"/>
    <p:sldId id="292" r:id="rId8"/>
    <p:sldId id="293" r:id="rId9"/>
    <p:sldId id="296" r:id="rId10"/>
    <p:sldId id="297" r:id="rId11"/>
    <p:sldId id="298" r:id="rId12"/>
    <p:sldId id="294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0" d="100"/>
          <a:sy n="90" d="100"/>
        </p:scale>
        <p:origin x="168" y="96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5/5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4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5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endParaRPr lang="en-US" altLang="zh-CN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（展厅活动，试驾活动，售后活动，交车仪式，易手车活动，新车发布等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）</a:t>
            </a:r>
            <a:endParaRPr lang="en-US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-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-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79" b="14440"/>
          <a:stretch/>
        </p:blipFill>
        <p:spPr>
          <a:xfrm>
            <a:off x="290832" y="1205419"/>
            <a:ext cx="11654119" cy="410785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133347" y="5313270"/>
            <a:ext cx="3395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封面图片可以自行更换车辆美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Hospitalit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礼仪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24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000" b="1" dirty="0" smtClean="0">
                <a:solidFill>
                  <a:srgbClr val="FFFFFF"/>
                </a:solidFill>
                <a:cs typeface="+mn-ea"/>
                <a:sym typeface="+mn-lt"/>
              </a:rPr>
              <a:t>其他</a:t>
            </a:r>
            <a:endParaRPr lang="en-US" altLang="zh-CN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110690"/>
              </p:ext>
            </p:extLst>
          </p:nvPr>
        </p:nvGraphicFramePr>
        <p:xfrm>
          <a:off x="587141" y="1234463"/>
          <a:ext cx="11032602" cy="50502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2607">
                  <a:extLst>
                    <a:ext uri="{9D8B030D-6E8A-4147-A177-3AD203B41FA5}">
                      <a16:colId xmlns:a16="http://schemas.microsoft.com/office/drawing/2014/main" val="3496894346"/>
                    </a:ext>
                  </a:extLst>
                </a:gridCol>
                <a:gridCol w="22826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336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33694">
                  <a:extLst>
                    <a:ext uri="{9D8B030D-6E8A-4147-A177-3AD203B41FA5}">
                      <a16:colId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tartTime</a:t>
                      </a: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0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ndTime</a:t>
                      </a: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ntent </a:t>
                      </a: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esponsible </a:t>
                      </a: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负责人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3926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475788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02454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0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4154214"/>
              </p:ext>
            </p:extLst>
          </p:nvPr>
        </p:nvGraphicFramePr>
        <p:xfrm>
          <a:off x="539749" y="1107029"/>
          <a:ext cx="11079991" cy="32725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:a16="http://schemas.microsoft.com/office/drawing/2014/main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:a16="http://schemas.microsoft.com/office/drawing/2014/main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:a16="http://schemas.microsoft.com/office/drawing/2014/main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:a16="http://schemas.microsoft.com/office/drawing/2014/main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:a16="http://schemas.microsoft.com/office/drawing/2014/main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0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0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0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内容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841494"/>
                  </a:ext>
                </a:extLst>
              </a:tr>
              <a:tr h="48697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Dat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日期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地点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36000" marR="0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7797630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人员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参与人数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Vehicl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车辆</a:t>
                      </a:r>
                      <a:endParaRPr lang="en-US" altLang="zh-CN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Usage  (Static/Test drive)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用途（静态展示</a:t>
                      </a:r>
                      <a:r>
                        <a:rPr lang="en-US" altLang="zh-CN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试驾）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000" b="0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客户数量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Model</a:t>
                      </a:r>
                    </a:p>
                    <a:p>
                      <a:r>
                        <a:rPr lang="zh-CN" alt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型号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000" b="0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每条线索成本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Qty.</a:t>
                      </a:r>
                    </a:p>
                    <a:p>
                      <a:r>
                        <a:rPr lang="zh-CN" alt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数量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000" b="0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55073049"/>
              </p:ext>
            </p:extLst>
          </p:nvPr>
        </p:nvGraphicFramePr>
        <p:xfrm>
          <a:off x="587372" y="4732273"/>
          <a:ext cx="11032368" cy="81049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zh-CN" altLang="en-US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zh-CN" altLang="en-US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aseline="0" dirty="0"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9465228"/>
              </p:ext>
            </p:extLst>
          </p:nvPr>
        </p:nvGraphicFramePr>
        <p:xfrm>
          <a:off x="404261" y="1162112"/>
          <a:ext cx="11473313" cy="506521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54780">
                  <a:extLst>
                    <a:ext uri="{9D8B030D-6E8A-4147-A177-3AD203B41FA5}">
                      <a16:colId xmlns:a16="http://schemas.microsoft.com/office/drawing/2014/main" val="2715221625"/>
                    </a:ext>
                  </a:extLst>
                </a:gridCol>
                <a:gridCol w="854780">
                  <a:extLst>
                    <a:ext uri="{9D8B030D-6E8A-4147-A177-3AD203B41FA5}">
                      <a16:colId xmlns:a16="http://schemas.microsoft.com/office/drawing/2014/main" val="1722467380"/>
                    </a:ext>
                  </a:extLst>
                </a:gridCol>
                <a:gridCol w="1158769">
                  <a:extLst>
                    <a:ext uri="{9D8B030D-6E8A-4147-A177-3AD203B41FA5}">
                      <a16:colId xmlns:a16="http://schemas.microsoft.com/office/drawing/2014/main" val="8733085"/>
                    </a:ext>
                  </a:extLst>
                </a:gridCol>
                <a:gridCol w="899883">
                  <a:extLst>
                    <a:ext uri="{9D8B030D-6E8A-4147-A177-3AD203B41FA5}">
                      <a16:colId xmlns:a16="http://schemas.microsoft.com/office/drawing/2014/main" val="2034639721"/>
                    </a:ext>
                  </a:extLst>
                </a:gridCol>
                <a:gridCol w="1968445">
                  <a:extLst>
                    <a:ext uri="{9D8B030D-6E8A-4147-A177-3AD203B41FA5}">
                      <a16:colId xmlns:a16="http://schemas.microsoft.com/office/drawing/2014/main" val="984284813"/>
                    </a:ext>
                  </a:extLst>
                </a:gridCol>
                <a:gridCol w="1634194">
                  <a:extLst>
                    <a:ext uri="{9D8B030D-6E8A-4147-A177-3AD203B41FA5}">
                      <a16:colId xmlns:a16="http://schemas.microsoft.com/office/drawing/2014/main" val="610353967"/>
                    </a:ext>
                  </a:extLst>
                </a:gridCol>
                <a:gridCol w="1234134">
                  <a:extLst>
                    <a:ext uri="{9D8B030D-6E8A-4147-A177-3AD203B41FA5}">
                      <a16:colId xmlns:a16="http://schemas.microsoft.com/office/drawing/2014/main" val="2199988680"/>
                    </a:ext>
                  </a:extLst>
                </a:gridCol>
                <a:gridCol w="942636">
                  <a:extLst>
                    <a:ext uri="{9D8B030D-6E8A-4147-A177-3AD203B41FA5}">
                      <a16:colId xmlns:a16="http://schemas.microsoft.com/office/drawing/2014/main" val="1060807198"/>
                    </a:ext>
                  </a:extLst>
                </a:gridCol>
                <a:gridCol w="1925692">
                  <a:extLst>
                    <a:ext uri="{9D8B030D-6E8A-4147-A177-3AD203B41FA5}">
                      <a16:colId xmlns:a16="http://schemas.microsoft.com/office/drawing/2014/main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r>
                        <a:rPr lang="en-US" sz="1000" baseline="0" dirty="0" smtClean="0"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0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0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0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000" b="1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000" b="1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000" b="1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000" b="1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1000" b="1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000" b="1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000" b="1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000" b="1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zh-CN" altLang="en-US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000" b="1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075753"/>
                  </a:ext>
                </a:extLst>
              </a:tr>
              <a:tr h="944643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000" b="0" spc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Performance 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000" b="0" spc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baseline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000" b="0" spc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MC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000" b="0" spc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4902271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altLang="zh-CN" sz="1000" b="0" spc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Hospitality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000" b="0" spc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176443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7"/>
            <a:ext cx="11080728" cy="4947269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zh-CN" altLang="en-US" sz="1187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728184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151512" y="1123920"/>
            <a:ext cx="5484130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Site plan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场地使用计划 （平面图等）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50" y="1123920"/>
            <a:ext cx="5468560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36067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661020"/>
            <a:ext cx="11061479" cy="50376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187" dirty="0"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77026" y="6297828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58264" y="1126740"/>
            <a:ext cx="11081395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endParaRPr lang="en-US" altLang="zh-CN" sz="10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 smtClean="0">
                <a:solidFill>
                  <a:srgbClr val="FFFFFF"/>
                </a:solidFill>
                <a:cs typeface="+mn-ea"/>
                <a:sym typeface="+mn-lt"/>
              </a:rPr>
              <a:t>活动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主视觉或背板</a:t>
            </a: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Construction &amp; Displayed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Construction &amp; Displayed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erformance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表演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Performance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表演计划</a:t>
            </a:r>
            <a:endParaRPr lang="en-US" altLang="zh-CN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Performance concept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表演方案</a:t>
            </a:r>
            <a:endParaRPr lang="en-US" altLang="zh-CN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Photography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Photography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</TotalTime>
  <Words>460</Words>
  <Application>Microsoft Office PowerPoint</Application>
  <PresentationFormat>宽屏</PresentationFormat>
  <Paragraphs>147</Paragraphs>
  <Slides>11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2" baseType="lpstr">
      <vt:lpstr>Bentley</vt:lpstr>
      <vt:lpstr>Bentley Light</vt:lpstr>
      <vt:lpstr>Bentley SemiBold</vt:lpstr>
      <vt:lpstr>ＭＳ Ｐゴシック</vt:lpstr>
      <vt:lpstr>黑体</vt:lpstr>
      <vt:lpstr>Arial</vt:lpstr>
      <vt:lpstr>Calibri</vt:lpstr>
      <vt:lpstr>Gill Sans MT</vt:lpstr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moujunsheng</cp:lastModifiedBy>
  <cp:revision>60</cp:revision>
  <dcterms:created xsi:type="dcterms:W3CDTF">2022-02-15T07:41:51Z</dcterms:created>
  <dcterms:modified xsi:type="dcterms:W3CDTF">2022-05-05T02:30:57Z</dcterms:modified>
</cp:coreProperties>
</file>